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50" d="100"/>
          <a:sy n="150" d="100"/>
        </p:scale>
        <p:origin x="-6954" y="-906"/>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18E8BE68-49BD-4CA9-9050-94831688B4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0B1A959A-6722-4C79-A11C-1AA6D13AA7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B6863D22-2E4F-4EDD-A7DF-7C665EA37A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4</c:v>
                </c:pt>
                <c:pt idx="1">
                  <c:v>0.34</c:v>
                </c:pt>
                <c:pt idx="2">
                  <c:v>0.33</c:v>
                </c:pt>
                <c:pt idx="3">
                  <c:v>0.0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4%</c:v>
                  </c:pt>
                  <c:pt idx="1">
                    <c:v>34%</c:v>
                  </c:pt>
                  <c:pt idx="2">
                    <c:v>33%</c:v>
                  </c:pt>
                  <c:pt idx="3">
                    <c:v>9%</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56B0574F-C5A8-4429-8303-CFE3A79AA5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5B337CF5-8818-4FAF-ADD9-5B24B9FF8D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1D413ECD-FA47-4F9C-B235-C8DA757B44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5</c:v>
                </c:pt>
                <c:pt idx="2">
                  <c:v>0.5</c:v>
                </c:pt>
                <c:pt idx="3">
                  <c:v>0.3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c:v>
                  </c:pt>
                  <c:pt idx="1">
                    <c:v>15%</c:v>
                  </c:pt>
                  <c:pt idx="2">
                    <c:v>50%</c:v>
                  </c:pt>
                  <c:pt idx="3">
                    <c:v>34%</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1</c:v>
                </c:pt>
                <c:pt idx="1">
                  <c:v>0.84</c:v>
                </c:pt>
                <c:pt idx="2">
                  <c:v>0.87</c:v>
                </c:pt>
                <c:pt idx="3">
                  <c:v>0.9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0240D5B8-57F0-4C46-A056-1BAB8ACDC6D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1A1C77A4-4DE3-4D98-9B79-70145E7A43F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A435C73F-12DF-41FF-B5AD-D89E2425992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9</c:v>
                </c:pt>
                <c:pt idx="1">
                  <c:v>0.16</c:v>
                </c:pt>
                <c:pt idx="2">
                  <c:v>0.13</c:v>
                </c:pt>
                <c:pt idx="3">
                  <c:v>0.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1%</c:v>
                  </c:pt>
                  <c:pt idx="1">
                    <c:v>84%</c:v>
                  </c:pt>
                  <c:pt idx="2">
                    <c:v>87%</c:v>
                  </c:pt>
                  <c:pt idx="3">
                    <c:v>92%</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5</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85BF9A17-DF23-4ED9-B20B-B1A063F767F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84DA8D1A-5F7C-4DD7-9D2E-1318E2D88D7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AFCEDB83-61A8-49D3-97B3-8B8DDDFD745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A6F61A21-B56C-441C-B899-0DF34A610CB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5</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2</c:v>
                </c:pt>
                <c:pt idx="1">
                  <c:v>0.8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71D6F0D1-B305-4667-B57B-4EDEDC038AE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51889630-169F-4ABA-93A7-25C01BE94E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1C8CE220-7168-4497-9BD4-884C8B3EF6E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FDD6D008-A1B6-4870-8129-13A7FC3C0F0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8</c:v>
                </c:pt>
                <c:pt idx="1">
                  <c:v>0.1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89%</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6E75CCB8-7914-43F3-B345-DBC0F39405D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6AF38784-71CD-4532-ADE3-518A4C44C8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8</c:v>
                </c:pt>
                <c:pt idx="1">
                  <c:v>0.93</c:v>
                </c:pt>
                <c:pt idx="2">
                  <c:v>0.83</c:v>
                </c:pt>
                <c:pt idx="3">
                  <c:v>0.9</c:v>
                </c:pt>
                <c:pt idx="4">
                  <c:v>0.8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122B35B0-8BC4-4113-AA1C-E35BAA1DE8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D5C2D399-EE3C-4C85-837A-A4E9BA489A5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1A06C992-1194-4AA3-B825-6465FEFCB69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70CFC3D5-527F-4D4B-AE0C-DC392C1FB23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2</c:v>
                </c:pt>
                <c:pt idx="1">
                  <c:v>7.0000000000000007E-2</c:v>
                </c:pt>
                <c:pt idx="2">
                  <c:v>0.17</c:v>
                </c:pt>
                <c:pt idx="3">
                  <c:v>0.1</c:v>
                </c:pt>
                <c:pt idx="4">
                  <c:v>0.1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8%</c:v>
                  </c:pt>
                  <c:pt idx="1">
                    <c:v>93%</c:v>
                  </c:pt>
                  <c:pt idx="2">
                    <c:v>83%</c:v>
                  </c:pt>
                  <c:pt idx="3">
                    <c:v>90%</c:v>
                  </c:pt>
                  <c:pt idx="4">
                    <c:v>88%</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1</c:v>
                </c:pt>
                <c:pt idx="2">
                  <c:v>0.88</c:v>
                </c:pt>
                <c:pt idx="3">
                  <c:v>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4F6D0474-B9FE-46BA-BBF1-B9AB9F47E16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31BBD19B-B29C-4634-B61B-2A32A22AC3F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7A74D058-537B-44D2-8398-D2492D7B798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9</c:v>
                </c:pt>
                <c:pt idx="2">
                  <c:v>0.12</c:v>
                </c:pt>
                <c:pt idx="3">
                  <c:v>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81%</c:v>
                  </c:pt>
                  <c:pt idx="2">
                    <c:v>88%</c:v>
                  </c:pt>
                  <c:pt idx="3">
                    <c:v>90%</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8</c:v>
                </c:pt>
                <c:pt idx="1">
                  <c:v>0.71</c:v>
                </c:pt>
                <c:pt idx="2">
                  <c:v>0.96</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94797998-B474-4B4D-A3B7-57035E8612C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67AE8BED-9036-4B18-962C-9E057DAF175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A7FF78FB-9A9A-4A27-B60B-57D0EC55DF5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0134F7DD-638F-45E8-93BF-402140492C7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2</c:v>
                </c:pt>
                <c:pt idx="1">
                  <c:v>0.28999999999999998</c:v>
                </c:pt>
                <c:pt idx="2">
                  <c:v>0.04</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8%</c:v>
                  </c:pt>
                  <c:pt idx="1">
                    <c:v>71%</c:v>
                  </c:pt>
                  <c:pt idx="2">
                    <c:v>96%</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9</c:v>
                </c:pt>
                <c:pt idx="1">
                  <c:v>0.8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A7838C6F-B309-4F7B-AEF2-98DBF6499E5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959BDAF5-0520-4924-930A-E3092AB1C71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F455F513-257D-4DEF-B2F8-234604059E1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EDA1243A-02A4-462A-B947-6FE87DF378F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c:v>
                </c:pt>
                <c:pt idx="1">
                  <c:v>0.1400000000000000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90%</c:v>
                  </c:pt>
                  <c:pt idx="1">
                    <c:v>86%</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C0405864-E81B-4858-A88A-238A71213F0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67028DCE-B2BC-4CD2-8F20-E1736BEC372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7%</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90</c:v>
                </c:pt>
                <c:pt idx="2">
                  <c:v>2</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8</c:v>
                </c:pt>
                <c:pt idx="1">
                  <c:v>10</c:v>
                </c:pt>
                <c:pt idx="2">
                  <c:v>1</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8E730B83-1676-459B-9C3E-5A67B68117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546B9CA4-F0CE-4248-9425-DEEE81D4D5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6FB45152-19AF-4953-8315-ADC5BD74DA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7D35E5D5-9DBF-4B01-8B28-702B9B44B5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A9996053-2E84-422B-95B3-98A6219173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r>
                      <a:rPr lang="en-GB"/>
                      <a:t>4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7</c:v>
                </c:pt>
                <c:pt idx="2">
                  <c:v>3</c:v>
                </c:pt>
                <c:pt idx="3">
                  <c:v>2</c:v>
                </c:pt>
                <c:pt idx="4">
                  <c:v>2</c:v>
                </c:pt>
                <c:pt idx="5">
                  <c:v>3</c:v>
                </c:pt>
                <c:pt idx="6">
                  <c:v>4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9%</c:v>
                  </c:pt>
                  <c:pt idx="1">
                    <c:v>7%</c:v>
                  </c:pt>
                  <c:pt idx="2">
                    <c:v>3%</c:v>
                  </c:pt>
                  <c:pt idx="3">
                    <c:v>2%</c:v>
                  </c:pt>
                  <c:pt idx="4">
                    <c:v>2%</c:v>
                  </c:pt>
                  <c:pt idx="5">
                    <c:v>3%</c:v>
                  </c:pt>
                  <c:pt idx="6">
                    <c:v>43%p</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F7C3345F-0E5D-43D2-AE69-23B652C314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221C2B49-F0C1-4802-A8E8-F9FE2816FD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DB8D63F8-2648-4C20-BBC9-F80F3BE2A3E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D7EC2157-A1C8-4DB8-AC20-81DFFB6FF7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9E7B3BEF-30B8-4388-8211-3EAEADD02F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26582AB5-97D0-4BA1-9A3F-22B75686B0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1</c:v>
                </c:pt>
                <c:pt idx="1">
                  <c:v>9</c:v>
                </c:pt>
                <c:pt idx="2">
                  <c:v>3</c:v>
                </c:pt>
                <c:pt idx="3">
                  <c:v>4</c:v>
                </c:pt>
                <c:pt idx="4">
                  <c:v>16</c:v>
                </c:pt>
                <c:pt idx="5">
                  <c:v>5</c:v>
                </c:pt>
                <c:pt idx="6">
                  <c:v>3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1%</c:v>
                  </c:pt>
                  <c:pt idx="1">
                    <c:v>9%</c:v>
                  </c:pt>
                  <c:pt idx="2">
                    <c:v>3%</c:v>
                  </c:pt>
                  <c:pt idx="3">
                    <c:v>4%</c:v>
                  </c:pt>
                  <c:pt idx="4">
                    <c:v>16%</c:v>
                  </c:pt>
                  <c:pt idx="5">
                    <c:v>5%</c:v>
                  </c:pt>
                  <c:pt idx="6">
                    <c:v>30%</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0CB3DD1F-8DC1-4A4D-A76B-4260C12C9A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66831EF9-A145-4754-90EB-2A1E1B8874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B68FE8D2-41DC-4872-93AC-5E197C60B9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56117499-21F2-4299-938E-73FED862E2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354952C9-3114-4407-ACC8-E53FDEF2C7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1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A5CF-40B3-8374-492CB86772A0}"/>
                </c:ext>
              </c:extLst>
            </c:dLbl>
            <c:dLbl>
              <c:idx val="1"/>
              <c:tx>
                <c:rich>
                  <a:bodyPr/>
                  <a:lstStyle/>
                  <a:p>
                    <a:r>
                      <a:rPr lang="en-GB"/>
                      <a:t>8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4</c:v>
                </c:pt>
                <c:pt idx="1">
                  <c:v>8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4%q</c:v>
                  </c:pt>
                  <c:pt idx="1">
                    <c:v>86%p</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0ADA4562-B458-4C20-9864-F3687522BB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FDAD4AD8-AB6C-4F17-8A26-9E3C1DC0F3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0D6266DF-CDB4-4F5B-A41E-A076922366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E2C8AB1F-D5EA-4220-A205-DDA487E25A4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5000000000000004</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5%</c:v>
                  </c:pt>
                  <c:pt idx="1">
                    <c:v>43%</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5740082C-7C2E-4FDF-AFE1-31AA793D35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C687E56D-6CD3-46F6-B215-AB58D6C0BD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6CC7EB59-5BF4-4D33-8FC5-FCB2F655B6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B8203D2E-A4F5-477C-A436-FF73035B94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4</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6%</c:v>
                  </c:pt>
                  <c:pt idx="1">
                    <c:v>44%</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345E521B-A312-419C-841D-35C064B876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1191C125-7DA3-4049-BFDC-AA9FC2411E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3</c:v>
                </c:pt>
                <c:pt idx="1">
                  <c:v>7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3%</c:v>
                  </c:pt>
                  <c:pt idx="1">
                    <c:v>77%</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680CEC8E-E069-4542-B7A1-2687B49C89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ADD75A0A-3ACB-4302-8630-F3E392054A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c:v>
                </c:pt>
                <c:pt idx="1">
                  <c:v>9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c:v>
                  </c:pt>
                  <c:pt idx="1">
                    <c:v>98%</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AC3DDA90-4590-4155-91A6-7FA7CE5517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1F756EEF-DAB8-4615-93BD-364E961EBF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c:v>
                  </c:pt>
                  <c:pt idx="1">
                    <c:v>93%</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EE722135-AB56-4CF6-9588-F57DFD53DE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3CF7776D-4F01-4629-8D94-8DDE848BC4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267B567A-2DC0-4C1F-9136-B05BA183A3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CDD38E7F-17C6-4557-99AB-8D2ED4AE28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r>
                      <a:rPr lang="en-GB"/>
                      <a:t>9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fld id="{0649CB5B-2DD2-44BC-8DA2-0CCC7C49AE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D99EC29E-A5D9-467C-847D-FEF0984AB5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9</c:v>
                </c:pt>
                <c:pt idx="1">
                  <c:v>91</c:v>
                </c:pt>
                <c:pt idx="2">
                  <c:v>81</c:v>
                </c:pt>
                <c:pt idx="3">
                  <c:v>74</c:v>
                </c:pt>
                <c:pt idx="4">
                  <c:v>95</c:v>
                </c:pt>
                <c:pt idx="5">
                  <c:v>34</c:v>
                </c:pt>
                <c:pt idx="6">
                  <c:v>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79%</c:v>
                  </c:pt>
                  <c:pt idx="1">
                    <c:v>91%</c:v>
                  </c:pt>
                  <c:pt idx="2">
                    <c:v>81%</c:v>
                  </c:pt>
                  <c:pt idx="3">
                    <c:v>74%</c:v>
                  </c:pt>
                  <c:pt idx="4">
                    <c:v>95%p</c:v>
                  </c:pt>
                  <c:pt idx="5">
                    <c:v>34%</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GB"/>
                      <a:t>8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3E36-4621-A2A8-3ADDA83CA04C}"/>
                </c:ext>
              </c:extLst>
            </c:dLbl>
            <c:dLbl>
              <c:idx val="1"/>
              <c:tx>
                <c:rich>
                  <a:bodyPr/>
                  <a:lstStyle/>
                  <a:p>
                    <a:r>
                      <a:rPr lang="en-GB"/>
                      <a:t>9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3E36-4621-A2A8-3ADDA83CA04C}"/>
                </c:ext>
              </c:extLst>
            </c:dLbl>
            <c:dLbl>
              <c:idx val="2"/>
              <c:tx>
                <c:rich>
                  <a:bodyPr/>
                  <a:lstStyle/>
                  <a:p>
                    <a:fld id="{BA463E9C-145A-4D7E-9E75-A3FDFB4ACF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r>
                      <a:rPr lang="en-GB"/>
                      <a:t>7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1E17F933-5144-4EED-9479-76EA369038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63259A93-B6D3-4CEF-AAB0-327F8577C0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20374636-1BE5-4E2C-AE96-C0D4136DB8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9</c:v>
                </c:pt>
                <c:pt idx="1">
                  <c:v>94</c:v>
                </c:pt>
                <c:pt idx="2">
                  <c:v>71</c:v>
                </c:pt>
                <c:pt idx="3">
                  <c:v>73</c:v>
                </c:pt>
                <c:pt idx="4">
                  <c:v>89</c:v>
                </c:pt>
                <c:pt idx="5">
                  <c:v>46</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9%p</c:v>
                  </c:pt>
                  <c:pt idx="1">
                    <c:v>94%p</c:v>
                  </c:pt>
                  <c:pt idx="2">
                    <c:v>71%</c:v>
                  </c:pt>
                  <c:pt idx="3">
                    <c:v>73%p</c:v>
                  </c:pt>
                  <c:pt idx="4">
                    <c:v>89%</c:v>
                  </c:pt>
                  <c:pt idx="5">
                    <c:v>46%</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9</c:v>
                </c:pt>
                <c:pt idx="1">
                  <c:v>26</c:v>
                </c:pt>
                <c:pt idx="2">
                  <c:v>11</c:v>
                </c:pt>
                <c:pt idx="3">
                  <c:v>2</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8</c:v>
                </c:pt>
                <c:pt idx="1">
                  <c:v>33</c:v>
                </c:pt>
                <c:pt idx="2">
                  <c:v>12</c:v>
                </c:pt>
                <c:pt idx="3">
                  <c:v>5</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5D041381-3DF1-49A1-9269-DB800A0936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FA57FD43-55B1-44FB-9200-D2216100A9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0109ED68-A66E-43F0-A07F-B95A0EE21D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0A900E3F-718C-4A2D-B349-01764E32E4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8%</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27</c:v>
                </c:pt>
                <c:pt idx="2">
                  <c:v>6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9</c:v>
                </c:pt>
                <c:pt idx="1">
                  <c:v>35</c:v>
                </c:pt>
                <c:pt idx="2">
                  <c:v>5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7</c:v>
                </c:pt>
                <c:pt idx="2">
                  <c:v>29</c:v>
                </c:pt>
                <c:pt idx="3">
                  <c:v>16</c:v>
                </c:pt>
                <c:pt idx="4">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6</c:v>
                </c:pt>
                <c:pt idx="2">
                  <c:v>17</c:v>
                </c:pt>
                <c:pt idx="3">
                  <c:v>19</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8.2000000000000003E-2</c:v>
                </c:pt>
                <c:pt idx="1">
                  <c:v>0.159</c:v>
                </c:pt>
                <c:pt idx="2">
                  <c:v>0.253</c:v>
                </c:pt>
                <c:pt idx="3">
                  <c:v>0.253</c:v>
                </c:pt>
                <c:pt idx="4">
                  <c:v>0.25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8.7999999999999995E-2</c:v>
                </c:pt>
                <c:pt idx="1">
                  <c:v>0.13</c:v>
                </c:pt>
                <c:pt idx="2">
                  <c:v>0.222</c:v>
                </c:pt>
                <c:pt idx="3">
                  <c:v>0.28399999999999997</c:v>
                </c:pt>
                <c:pt idx="4">
                  <c:v>0.2760000000000000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11</c:v>
                </c:pt>
                <c:pt idx="2">
                  <c:v>28</c:v>
                </c:pt>
                <c:pt idx="3">
                  <c:v>20</c:v>
                </c:pt>
                <c:pt idx="4">
                  <c:v>3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8</c:v>
                </c:pt>
                <c:pt idx="2">
                  <c:v>21</c:v>
                </c:pt>
                <c:pt idx="3">
                  <c:v>18</c:v>
                </c:pt>
                <c:pt idx="4">
                  <c:v>3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24</c:v>
                </c:pt>
                <c:pt idx="2">
                  <c:v>27</c:v>
                </c:pt>
                <c:pt idx="3">
                  <c:v>18</c:v>
                </c:pt>
                <c:pt idx="4">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2</c:v>
                </c:pt>
                <c:pt idx="1">
                  <c:v>27</c:v>
                </c:pt>
                <c:pt idx="2">
                  <c:v>19</c:v>
                </c:pt>
                <c:pt idx="3">
                  <c:v>13</c:v>
                </c:pt>
                <c:pt idx="4">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1BD90BAC-69F1-4B6D-B536-2FF8FC0FC3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77D489EF-A6A4-4D85-B9E3-8633D2FCE8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B935FE07-9358-40CD-9CEB-838A8837E6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17EE369E-72B9-44CA-8DC1-6983E97C89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6</c:v>
                </c:pt>
                <c:pt idx="1">
                  <c:v>0</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6%</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A0AAD633-8BEE-42A0-8562-36E3C676CC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06F9E70A-C0ED-44FE-86B6-EB7146B0C1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AD9F1A27-7A7B-492B-84BC-18A7E0BF2A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4D2A57B4-DC47-41A6-B850-BB4A3EF7C1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1</c:v>
                </c:pt>
                <c:pt idx="1">
                  <c:v>0</c:v>
                </c:pt>
                <c:pt idx="2">
                  <c:v>0.05</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91%</c:v>
                  </c:pt>
                  <c:pt idx="1">
                    <c:v>-</c:v>
                  </c:pt>
                  <c:pt idx="2">
                    <c:v>5%</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9</c:v>
                </c:pt>
                <c:pt idx="2">
                  <c:v>31</c:v>
                </c:pt>
                <c:pt idx="3">
                  <c:v>18</c:v>
                </c:pt>
                <c:pt idx="4">
                  <c:v>3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6</c:v>
                </c:pt>
                <c:pt idx="2">
                  <c:v>25</c:v>
                </c:pt>
                <c:pt idx="3">
                  <c:v>21</c:v>
                </c:pt>
                <c:pt idx="4">
                  <c:v>2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8</c:v>
                </c:pt>
                <c:pt idx="1">
                  <c:v>25</c:v>
                </c:pt>
                <c:pt idx="2">
                  <c:v>41</c:v>
                </c:pt>
                <c:pt idx="3">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1</c:v>
                </c:pt>
                <c:pt idx="1">
                  <c:v>37</c:v>
                </c:pt>
                <c:pt idx="2">
                  <c:v>33</c:v>
                </c:pt>
                <c:pt idx="3">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3</c:v>
                </c:pt>
                <c:pt idx="1">
                  <c:v>36</c:v>
                </c:pt>
                <c:pt idx="2">
                  <c:v>14</c:v>
                </c:pt>
                <c:pt idx="3">
                  <c:v>4</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72</c:v>
                </c:pt>
                <c:pt idx="1">
                  <c:v>19</c:v>
                </c:pt>
                <c:pt idx="2">
                  <c:v>4</c:v>
                </c:pt>
                <c:pt idx="3">
                  <c:v>4</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2</c:v>
                </c:pt>
                <c:pt idx="2">
                  <c:v>14</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0</c:v>
                </c:pt>
                <c:pt idx="1">
                  <c:v>55</c:v>
                </c:pt>
                <c:pt idx="2">
                  <c:v>12</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9C4058EB-A1B7-4DD0-A1A3-AE0582FD35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83BA8C0F-042E-4F2F-89DB-4F4E2F2257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3FFEFAAB-539A-487A-B0ED-37E7D67747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8%</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1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8</c:v>
                </c:pt>
                <c:pt idx="1">
                  <c:v>1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8%p</c:v>
                  </c:pt>
                  <c:pt idx="1">
                    <c:v>12%q</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39FB0C09-EFAB-4935-AE86-9670B2C174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48CD1C8C-476E-4FEC-8183-57F0775E23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1</c:v>
                </c:pt>
                <c:pt idx="1">
                  <c:v>3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1%</c:v>
                  </c:pt>
                  <c:pt idx="1">
                    <c:v>39%</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D682AD45-3790-4FBD-84AF-0410F6463D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3F866ACF-48D1-4A63-B75A-B85A11C5A9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9C5B9D91-ADDD-4651-9BFD-C2EFAD48D0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14DD31B7-EEC6-4E2E-9273-60EDD0BC00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0658D551-9F09-47E3-9260-CA7E7C3B42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8%</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5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8%p</c:v>
                  </c:pt>
                  <c:pt idx="1">
                    <c:v>52%q</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3FCD76AB-5944-494F-A8DE-DD968CF9E0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9E81-4665-B9F1-19FE31D5928C}"/>
                </c:ext>
              </c:extLst>
            </c:dLbl>
            <c:dLbl>
              <c:idx val="1"/>
              <c:tx>
                <c:rich>
                  <a:bodyPr/>
                  <a:lstStyle/>
                  <a:p>
                    <a:r>
                      <a:rPr lang="en-GB"/>
                      <a:t>4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1%p</c:v>
                  </c:pt>
                  <c:pt idx="1">
                    <c:v>49%q</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9D377AE8-B592-46E8-9BE4-3E45BDB29B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007FAF5E-87DF-4AFD-90B5-B03B735CE3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5</c:v>
                </c:pt>
                <c:pt idx="1">
                  <c:v>6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5%</c:v>
                  </c:pt>
                  <c:pt idx="1">
                    <c:v>65%</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2C65EB0F-F1EC-4569-B509-603926F865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A074E737-8726-4089-BAB7-7793043D9B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8C411B1F-F3A3-4EC8-8702-B2A9076F1D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8E223613-376F-43F8-874B-3662BDF746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42F243D1-671A-4B2D-9C6A-A5C69CBEA7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8D6E4054-246E-4B5F-8665-0180DA6364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F06E98C8-873C-44DF-99B0-1745474E67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53B05E02-987C-474F-BA48-BAC952D8FE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2</c:v>
                </c:pt>
                <c:pt idx="1">
                  <c:v>4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2%</c:v>
                  </c:pt>
                  <c:pt idx="1">
                    <c:v>48%</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59C0A3D1-F9D2-4F36-9832-A325C6786A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10257EB9-4415-49F5-A8AD-ABC11D93A0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3A51EEA4-2B15-4107-84EC-3B8F5B2E86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6</c:v>
                </c:pt>
                <c:pt idx="1">
                  <c:v>36</c:v>
                </c:pt>
                <c:pt idx="2">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9</c:v>
                </c:pt>
                <c:pt idx="1">
                  <c:v>50</c:v>
                </c:pt>
                <c:pt idx="2">
                  <c:v>1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339E6FA9-0E1B-4258-BB59-73D858A7F5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6CEB5057-C557-4717-903F-94D8C3D1B5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7C7E7402-7922-4399-8314-C79B5786F54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7B5A0B7E-98CB-4FAA-8FC8-455A93A54F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5DCFE275-F66C-495D-88C2-53FCBEDE07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472CA392-743D-4BB9-A5F3-D5C2F43BF9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5</c:v>
                </c:pt>
                <c:pt idx="1">
                  <c:v>5</c:v>
                </c:pt>
                <c:pt idx="2">
                  <c:v>62</c:v>
                </c:pt>
                <c:pt idx="3">
                  <c:v>33</c:v>
                </c:pt>
                <c:pt idx="4">
                  <c:v>18</c:v>
                </c:pt>
                <c:pt idx="5">
                  <c:v>15</c:v>
                </c:pt>
                <c:pt idx="6">
                  <c:v>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5%</c:v>
                  </c:pt>
                  <c:pt idx="1">
                    <c:v>5%</c:v>
                  </c:pt>
                  <c:pt idx="2">
                    <c:v>62%</c:v>
                  </c:pt>
                  <c:pt idx="3">
                    <c:v>33%</c:v>
                  </c:pt>
                  <c:pt idx="4">
                    <c:v>18%</c:v>
                  </c:pt>
                  <c:pt idx="5">
                    <c:v>15%</c:v>
                  </c:pt>
                  <c:pt idx="6">
                    <c:v>4%</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CD4B4042-85BA-46D6-89EE-A0B5F1140D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94FF3B16-DFFB-4F0B-96A9-816C199F72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EDC55D38-02D2-445E-8C22-64F8A071A78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C8045FB3-02B3-4CC1-B5E8-B2C881DB3C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6A0B5610-9812-4B04-B75A-0A6232727A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9291AA77-295C-4F45-A04D-C2D5FCF98E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2</c:v>
                </c:pt>
                <c:pt idx="1">
                  <c:v>18</c:v>
                </c:pt>
                <c:pt idx="2">
                  <c:v>39</c:v>
                </c:pt>
                <c:pt idx="3">
                  <c:v>42</c:v>
                </c:pt>
                <c:pt idx="4">
                  <c:v>9</c:v>
                </c:pt>
                <c:pt idx="5">
                  <c:v>15</c:v>
                </c:pt>
                <c:pt idx="6">
                  <c:v>1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32%</c:v>
                  </c:pt>
                  <c:pt idx="1">
                    <c:v>18%</c:v>
                  </c:pt>
                  <c:pt idx="2">
                    <c:v>39%</c:v>
                  </c:pt>
                  <c:pt idx="3">
                    <c:v>42%</c:v>
                  </c:pt>
                  <c:pt idx="4">
                    <c:v>9%</c:v>
                  </c:pt>
                  <c:pt idx="5">
                    <c:v>15%</c:v>
                  </c:pt>
                  <c:pt idx="6">
                    <c:v>13%</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6</c:v>
                </c:pt>
                <c:pt idx="2">
                  <c:v>6</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9</c:v>
                </c:pt>
                <c:pt idx="1">
                  <c:v>37</c:v>
                </c:pt>
                <c:pt idx="2">
                  <c:v>4</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5%</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6</c:v>
                </c:pt>
                <c:pt idx="1">
                  <c:v>0.83</c:v>
                </c:pt>
                <c:pt idx="2">
                  <c:v>0.81</c:v>
                </c:pt>
                <c:pt idx="3">
                  <c:v>0.84</c:v>
                </c:pt>
                <c:pt idx="4">
                  <c:v>0.9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3C998433-B801-4724-B74E-26DE45A5CAD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54B371B8-2639-44A5-93ED-E43220447C5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0CDA57B8-13A8-4E09-9ED5-3B89E2A4EBB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A11A37EC-F1A8-4259-9DDC-FBE0C27D6BC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4000000000000001</c:v>
                </c:pt>
                <c:pt idx="1">
                  <c:v>0.17</c:v>
                </c:pt>
                <c:pt idx="2">
                  <c:v>0.19</c:v>
                </c:pt>
                <c:pt idx="3">
                  <c:v>0.16</c:v>
                </c:pt>
                <c:pt idx="4">
                  <c:v>0.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6%</c:v>
                  </c:pt>
                  <c:pt idx="1">
                    <c:v>83%</c:v>
                  </c:pt>
                  <c:pt idx="2">
                    <c:v>81%</c:v>
                  </c:pt>
                  <c:pt idx="3">
                    <c:v>84%</c:v>
                  </c:pt>
                  <c:pt idx="4">
                    <c:v>91%</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LOUCESTER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LOUCESTER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LOUCESTER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LOUCESTER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LOUCESTER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GLOUCESTERSHIRE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736186484"/>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blood test check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983584393"/>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4068633076"/>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support from other people living with diabetes
Healthcare professionals providing support to monitor blood sugar level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1656931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GLOUCESTER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28645457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76451554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8% of respondents who were marked as Type 1 in the sample selected ‘Type 1’, 10%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4% selected ‘Type 1’, 2%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13); Type 2, ICS (548)).</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596232641"/>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922281804"/>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238944957"/>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1698103005"/>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98539146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58); Type 2, National (19,941), ICS (459))</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08905178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87474861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68); Type 2, National (22,278), ICS (506))</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22224450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01613226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34); Type 2, National (21,082), ICS (474))</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269316294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3739686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15); Type 2, National (24,180), ICS (544))</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991316101"/>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81964950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634068265"/>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542625876"/>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418762812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5); Type 2, National (22,482), ICS (508))</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97988682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27218434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165257110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61865846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6828711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273771036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8863995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94051412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2609636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07); Type 2, National (22,670), ICS (513))</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422146807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41097675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78956702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17144079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68489340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363619698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359398636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87317247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07212734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14); Type 2, National (24,076), ICS (546))</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5849866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49320882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55108367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03407126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33421205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22760382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5004208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0703879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14); Type 2, National (24,153), ICS (549))</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410622304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46227367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372380383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95967774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69995562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919977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403708589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38980253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72565356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14); Type 2, National (24,135), ICS (54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58591248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326696446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47067924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97295575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48019227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73833760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73417063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85611497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91482146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2); Type 2, National (24,084), ICS (54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427620847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4838585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03794880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1774491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39845267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126984205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292216536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79576134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79613333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3); Type 2, National (24,070), ICS (54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50762514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217843844"/>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132197563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777608339"/>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637247625"/>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21774258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4053105613"/>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6305747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403668431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5); Type 2, National (24,260), ICS (54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58157510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05775145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426669281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427296539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282830666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12548278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74308300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93902524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6342211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14); Type 2, National (24,267), ICS (549))</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6237609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262394149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04858484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09621680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398750982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409419813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60272139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403225046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89914475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4); Type 2, National (24,196), ICS (546))</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12142951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1696064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159174276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12); Type 2, National (24,019), ICS (545))</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50186434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03126090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03); Type 2, National (11,860), ICS (301))</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29027640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03160945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98); Type 2, National (21,228), ICS (477))</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200244676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49766216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99); Type 2, National (20,915), ICS (462))</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00466563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802560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65); Type 2, National (20,086), ICS (449))</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03061116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62016216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88); Type 2, National (21,890), ICS (490))</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74269710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146109489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76); Type 2, National (18,585), ICS (422))</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215070151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4462206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38191549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69479910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44413928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70003042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83470966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29072155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99); Type 2, National (22,580), ICS (509))</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1480293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523730108"/>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759436366"/>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89193412"/>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966747266"/>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1681910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83); Type 2, National (12,350), ICS (265))</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8248250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773193616"/>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337587252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12583187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2959463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51377467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157039355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48468335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87); Type 2, National (10,911), ICS (24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97342683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800214354"/>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906377204"/>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121440172"/>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144948596"/>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507199726"/>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750713058"/>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02))</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70309104"/>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045236744"/>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239003172"/>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478757999"/>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643224004"/>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103377726"/>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05))</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GLOUCESTER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142</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66</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5%</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15</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51</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47</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95</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4099187804"/>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2840950007"/>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3178596018"/>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968699236"/>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312674612"/>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852066818"/>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64825379"/>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GLOUCESTER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189939662"/>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
Having a weight and BMI check as part of their last annual review
Having a blood pressure check as part of their last annual review
Having a urine test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59869949"/>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261518493"/>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
Healthcare professionals providing support in taking medicine
Healthcare professionals providing support with emotional and mental health need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68354517"/>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9</TotalTime>
  <Words>5328</Words>
  <Application>Microsoft Office PowerPoint</Application>
  <PresentationFormat>Widescreen</PresentationFormat>
  <Paragraphs>810</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Arial</vt:lpstr>
      <vt:lpstr>Barlow</vt:lpstr>
      <vt:lpstr>Wingdings 3</vt:lpstr>
      <vt:lpstr>Roboto</vt:lpstr>
      <vt:lpstr>Segoe UI</vt:lpstr>
      <vt:lpstr>HelveticaNeueLT Std Lt Cn</vt:lpstr>
      <vt:lpstr>Arial (Body)</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2</cp:revision>
  <cp:lastPrinted>2024-09-17T13:37:47Z</cp:lastPrinted>
  <dcterms:created xsi:type="dcterms:W3CDTF">2024-06-17T14:42:21Z</dcterms:created>
  <dcterms:modified xsi:type="dcterms:W3CDTF">2024-12-04T12:0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